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4FE4B6-1727-4ED2-BF86-7C818F11ADC0}" v="14" dt="2023-01-03T12:33:21.831"/>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0" autoAdjust="0"/>
    <p:restoredTop sz="93792" autoAdjust="0"/>
  </p:normalViewPr>
  <p:slideViewPr>
    <p:cSldViewPr>
      <p:cViewPr varScale="1">
        <p:scale>
          <a:sx n="66" d="100"/>
          <a:sy n="66" d="100"/>
        </p:scale>
        <p:origin x="63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raj Mew, Mohd Nabeel" userId="fbe18348-0f41-4b75-86ba-45eb26acd8d0" providerId="ADAL" clId="{7C4FE4B6-1727-4ED2-BF86-7C818F11ADC0}"/>
    <pc:docChg chg="undo redo custSel modSld">
      <pc:chgData name="Siraj Mew, Mohd Nabeel" userId="fbe18348-0f41-4b75-86ba-45eb26acd8d0" providerId="ADAL" clId="{7C4FE4B6-1727-4ED2-BF86-7C818F11ADC0}" dt="2023-01-03T12:33:55.446" v="810" actId="14734"/>
      <pc:docMkLst>
        <pc:docMk/>
      </pc:docMkLst>
      <pc:sldChg chg="addSp delSp modSp mod">
        <pc:chgData name="Siraj Mew, Mohd Nabeel" userId="fbe18348-0f41-4b75-86ba-45eb26acd8d0" providerId="ADAL" clId="{7C4FE4B6-1727-4ED2-BF86-7C818F11ADC0}" dt="2023-01-03T12:33:55.446" v="810" actId="14734"/>
        <pc:sldMkLst>
          <pc:docMk/>
          <pc:sldMk cId="0" sldId="1989"/>
        </pc:sldMkLst>
        <pc:spChg chg="add del mod">
          <ac:chgData name="Siraj Mew, Mohd Nabeel" userId="fbe18348-0f41-4b75-86ba-45eb26acd8d0" providerId="ADAL" clId="{7C4FE4B6-1727-4ED2-BF86-7C818F11ADC0}" dt="2022-12-31T13:28:50.270" v="1" actId="931"/>
          <ac:spMkLst>
            <pc:docMk/>
            <pc:sldMk cId="0" sldId="1989"/>
            <ac:spMk id="4" creationId="{328AD12D-8012-4A58-80F0-8B82FE2F6BAD}"/>
          </ac:spMkLst>
        </pc:spChg>
        <pc:spChg chg="mod">
          <ac:chgData name="Siraj Mew, Mohd Nabeel" userId="fbe18348-0f41-4b75-86ba-45eb26acd8d0" providerId="ADAL" clId="{7C4FE4B6-1727-4ED2-BF86-7C818F11ADC0}" dt="2023-01-03T12:24:31.647" v="737" actId="1076"/>
          <ac:spMkLst>
            <pc:docMk/>
            <pc:sldMk cId="0" sldId="1989"/>
            <ac:spMk id="5" creationId="{00000000-0000-0000-0000-000000000000}"/>
          </ac:spMkLst>
        </pc:spChg>
        <pc:spChg chg="mod">
          <ac:chgData name="Siraj Mew, Mohd Nabeel" userId="fbe18348-0f41-4b75-86ba-45eb26acd8d0" providerId="ADAL" clId="{7C4FE4B6-1727-4ED2-BF86-7C818F11ADC0}" dt="2023-01-03T12:26:31.107" v="745" actId="20577"/>
          <ac:spMkLst>
            <pc:docMk/>
            <pc:sldMk cId="0" sldId="1989"/>
            <ac:spMk id="7170" creationId="{00000000-0000-0000-0000-000000000000}"/>
          </ac:spMkLst>
        </pc:spChg>
        <pc:spChg chg="mod">
          <ac:chgData name="Siraj Mew, Mohd Nabeel" userId="fbe18348-0f41-4b75-86ba-45eb26acd8d0" providerId="ADAL" clId="{7C4FE4B6-1727-4ED2-BF86-7C818F11ADC0}" dt="2023-01-01T10:04:59.134" v="34" actId="20577"/>
          <ac:spMkLst>
            <pc:docMk/>
            <pc:sldMk cId="0" sldId="1989"/>
            <ac:spMk id="7172" creationId="{00000000-0000-0000-0000-000000000000}"/>
          </ac:spMkLst>
        </pc:spChg>
        <pc:spChg chg="mod">
          <ac:chgData name="Siraj Mew, Mohd Nabeel" userId="fbe18348-0f41-4b75-86ba-45eb26acd8d0" providerId="ADAL" clId="{7C4FE4B6-1727-4ED2-BF86-7C818F11ADC0}" dt="2023-01-01T10:05:58.874" v="37" actId="14100"/>
          <ac:spMkLst>
            <pc:docMk/>
            <pc:sldMk cId="0" sldId="1989"/>
            <ac:spMk id="7173" creationId="{00000000-0000-0000-0000-000000000000}"/>
          </ac:spMkLst>
        </pc:spChg>
        <pc:spChg chg="mod">
          <ac:chgData name="Siraj Mew, Mohd Nabeel" userId="fbe18348-0f41-4b75-86ba-45eb26acd8d0" providerId="ADAL" clId="{7C4FE4B6-1727-4ED2-BF86-7C818F11ADC0}" dt="2023-01-01T10:06:22.674" v="59" actId="20577"/>
          <ac:spMkLst>
            <pc:docMk/>
            <pc:sldMk cId="0" sldId="1989"/>
            <ac:spMk id="7174" creationId="{00000000-0000-0000-0000-000000000000}"/>
          </ac:spMkLst>
        </pc:spChg>
        <pc:spChg chg="mod">
          <ac:chgData name="Siraj Mew, Mohd Nabeel" userId="fbe18348-0f41-4b75-86ba-45eb26acd8d0" providerId="ADAL" clId="{7C4FE4B6-1727-4ED2-BF86-7C818F11ADC0}" dt="2023-01-03T12:17:26.416" v="640" actId="20577"/>
          <ac:spMkLst>
            <pc:docMk/>
            <pc:sldMk cId="0" sldId="1989"/>
            <ac:spMk id="7175" creationId="{00000000-0000-0000-0000-000000000000}"/>
          </ac:spMkLst>
        </pc:spChg>
        <pc:spChg chg="mod">
          <ac:chgData name="Siraj Mew, Mohd Nabeel" userId="fbe18348-0f41-4b75-86ba-45eb26acd8d0" providerId="ADAL" clId="{7C4FE4B6-1727-4ED2-BF86-7C818F11ADC0}" dt="2023-01-01T10:04:37.182" v="26"/>
          <ac:spMkLst>
            <pc:docMk/>
            <pc:sldMk cId="0" sldId="1989"/>
            <ac:spMk id="7178" creationId="{00000000-0000-0000-0000-000000000000}"/>
          </ac:spMkLst>
        </pc:spChg>
        <pc:spChg chg="mod">
          <ac:chgData name="Siraj Mew, Mohd Nabeel" userId="fbe18348-0f41-4b75-86ba-45eb26acd8d0" providerId="ADAL" clId="{7C4FE4B6-1727-4ED2-BF86-7C818F11ADC0}" dt="2023-01-03T12:27:12.570" v="748" actId="1076"/>
          <ac:spMkLst>
            <pc:docMk/>
            <pc:sldMk cId="0" sldId="1989"/>
            <ac:spMk id="7180" creationId="{00000000-0000-0000-0000-000000000000}"/>
          </ac:spMkLst>
        </pc:spChg>
        <pc:graphicFrameChg chg="mod modGraphic">
          <ac:chgData name="Siraj Mew, Mohd Nabeel" userId="fbe18348-0f41-4b75-86ba-45eb26acd8d0" providerId="ADAL" clId="{7C4FE4B6-1727-4ED2-BF86-7C818F11ADC0}" dt="2023-01-03T12:33:55.446" v="810" actId="14734"/>
          <ac:graphicFrameMkLst>
            <pc:docMk/>
            <pc:sldMk cId="0" sldId="1989"/>
            <ac:graphicFrameMk id="2" creationId="{00000000-0000-0000-0000-000000000000}"/>
          </ac:graphicFrameMkLst>
        </pc:graphicFrameChg>
        <pc:picChg chg="add mod">
          <ac:chgData name="Siraj Mew, Mohd Nabeel" userId="fbe18348-0f41-4b75-86ba-45eb26acd8d0" providerId="ADAL" clId="{7C4FE4B6-1727-4ED2-BF86-7C818F11ADC0}" dt="2022-12-31T13:29:01.516" v="3" actId="14100"/>
          <ac:picMkLst>
            <pc:docMk/>
            <pc:sldMk cId="0" sldId="1989"/>
            <ac:picMk id="8" creationId="{4FAB4D96-0848-4902-8712-1297F1887480}"/>
          </ac:picMkLst>
        </pc:picChg>
        <pc:picChg chg="del">
          <ac:chgData name="Siraj Mew, Mohd Nabeel" userId="fbe18348-0f41-4b75-86ba-45eb26acd8d0" providerId="ADAL" clId="{7C4FE4B6-1727-4ED2-BF86-7C818F11ADC0}" dt="2022-12-31T13:28:44.955" v="0" actId="21"/>
          <ac:picMkLst>
            <pc:docMk/>
            <pc:sldMk cId="0" sldId="1989"/>
            <ac:picMk id="10" creationId="{CF68BBEE-5802-823E-13CC-67B168669F91}"/>
          </ac:picMkLst>
        </pc:picChg>
        <pc:picChg chg="mod">
          <ac:chgData name="Siraj Mew, Mohd Nabeel" userId="fbe18348-0f41-4b75-86ba-45eb26acd8d0" providerId="ADAL" clId="{7C4FE4B6-1727-4ED2-BF86-7C818F11ADC0}" dt="2023-01-03T12:26:39.333" v="746" actId="1076"/>
          <ac:picMkLst>
            <pc:docMk/>
            <pc:sldMk cId="0" sldId="1989"/>
            <ac:picMk id="7179" creationId="{00000000-0000-0000-0000-000000000000}"/>
          </ac:picMkLst>
        </pc:picChg>
        <pc:picChg chg="mod">
          <ac:chgData name="Siraj Mew, Mohd Nabeel" userId="fbe18348-0f41-4b75-86ba-45eb26acd8d0" providerId="ADAL" clId="{7C4FE4B6-1727-4ED2-BF86-7C818F11ADC0}" dt="2022-12-31T13:32:26.027" v="4"/>
          <ac:picMkLst>
            <pc:docMk/>
            <pc:sldMk cId="0" sldId="1989"/>
            <ac:picMk id="7182" creationId="{00000000-0000-0000-0000-000000000000}"/>
          </ac:picMkLst>
        </pc:picChg>
      </pc:sldChg>
    </pc:docChg>
  </pc:docChgLst>
  <pc:docChgLst>
    <pc:chgData name="S, Uday Kumar" userId="S::uday-kumar.s@capgemini.com::11713fce-0ca4-448c-93c3-24176b34016f" providerId="AD" clId="Web-{95ACE2E2-96ED-4538-B566-2C65176FFDE3}"/>
    <pc:docChg chg="modSld">
      <pc:chgData name="S, Uday Kumar" userId="S::uday-kumar.s@capgemini.com::11713fce-0ca4-448c-93c3-24176b34016f" providerId="AD" clId="Web-{95ACE2E2-96ED-4538-B566-2C65176FFDE3}" dt="2022-06-10T08:10:34.467" v="51" actId="20577"/>
      <pc:docMkLst>
        <pc:docMk/>
      </pc:docMkLst>
      <pc:sldChg chg="modSp">
        <pc:chgData name="S, Uday Kumar" userId="S::uday-kumar.s@capgemini.com::11713fce-0ca4-448c-93c3-24176b34016f" providerId="AD" clId="Web-{95ACE2E2-96ED-4538-B566-2C65176FFDE3}" dt="2022-06-10T08:10:34.467" v="51" actId="20577"/>
        <pc:sldMkLst>
          <pc:docMk/>
          <pc:sldMk cId="0" sldId="1989"/>
        </pc:sldMkLst>
        <pc:spChg chg="mod">
          <ac:chgData name="S, Uday Kumar" userId="S::uday-kumar.s@capgemini.com::11713fce-0ca4-448c-93c3-24176b34016f" providerId="AD" clId="Web-{95ACE2E2-96ED-4538-B566-2C65176FFDE3}" dt="2022-06-10T08:10:34.467" v="51" actId="20577"/>
          <ac:spMkLst>
            <pc:docMk/>
            <pc:sldMk cId="0" sldId="1989"/>
            <ac:spMk id="7170" creationId="{00000000-0000-0000-0000-000000000000}"/>
          </ac:spMkLst>
        </pc:spChg>
      </pc:sldChg>
    </pc:docChg>
  </pc:docChgLst>
  <pc:docChgLst>
    <pc:chgData name="Machavaram, Balaramaiah" userId="S::bala-ramaiah.machavaram@capgemini.com::04644d49-d261-43f3-a9e5-e148feb12661" providerId="AD" clId="Web-{F65B9A1E-380F-4C64-9890-1393D79EBC05}"/>
    <pc:docChg chg="modSld">
      <pc:chgData name="Machavaram, Balaramaiah" userId="S::bala-ramaiah.machavaram@capgemini.com::04644d49-d261-43f3-a9e5-e148feb12661" providerId="AD" clId="Web-{F65B9A1E-380F-4C64-9890-1393D79EBC05}" dt="2022-06-10T08:52:24.075" v="3" actId="20577"/>
      <pc:docMkLst>
        <pc:docMk/>
      </pc:docMkLst>
      <pc:sldChg chg="modSp">
        <pc:chgData name="Machavaram, Balaramaiah" userId="S::bala-ramaiah.machavaram@capgemini.com::04644d49-d261-43f3-a9e5-e148feb12661" providerId="AD" clId="Web-{F65B9A1E-380F-4C64-9890-1393D79EBC05}" dt="2022-06-10T08:52:24.075" v="3" actId="20577"/>
        <pc:sldMkLst>
          <pc:docMk/>
          <pc:sldMk cId="0" sldId="1989"/>
        </pc:sldMkLst>
        <pc:spChg chg="mod">
          <ac:chgData name="Machavaram, Balaramaiah" userId="S::bala-ramaiah.machavaram@capgemini.com::04644d49-d261-43f3-a9e5-e148feb12661" providerId="AD" clId="Web-{F65B9A1E-380F-4C64-9890-1393D79EBC05}" dt="2022-06-10T08:52:24.075" v="3" actId="20577"/>
          <ac:spMkLst>
            <pc:docMk/>
            <pc:sldMk cId="0" sldId="1989"/>
            <ac:spMk id="7170" creationId="{00000000-0000-0000-0000-000000000000}"/>
          </ac:spMkLst>
        </pc:spChg>
      </pc:sldChg>
    </pc:docChg>
  </pc:docChgLst>
  <pc:docChgLst>
    <pc:chgData name="S, Uday Kumar" userId="S::uday-kumar.s@capgemini.com::11713fce-0ca4-448c-93c3-24176b34016f" providerId="AD" clId="Web-{A6745185-8429-3354-CFBE-CB740C4A89DC}"/>
    <pc:docChg chg="modSld">
      <pc:chgData name="S, Uday Kumar" userId="S::uday-kumar.s@capgemini.com::11713fce-0ca4-448c-93c3-24176b34016f" providerId="AD" clId="Web-{A6745185-8429-3354-CFBE-CB740C4A89DC}" dt="2022-06-10T08:06:14.289" v="95"/>
      <pc:docMkLst>
        <pc:docMk/>
      </pc:docMkLst>
      <pc:sldChg chg="modSp">
        <pc:chgData name="S, Uday Kumar" userId="S::uday-kumar.s@capgemini.com::11713fce-0ca4-448c-93c3-24176b34016f" providerId="AD" clId="Web-{A6745185-8429-3354-CFBE-CB740C4A89DC}" dt="2022-06-10T08:06:14.289" v="95"/>
        <pc:sldMkLst>
          <pc:docMk/>
          <pc:sldMk cId="0" sldId="1989"/>
        </pc:sldMkLst>
        <pc:spChg chg="mod">
          <ac:chgData name="S, Uday Kumar" userId="S::uday-kumar.s@capgemini.com::11713fce-0ca4-448c-93c3-24176b34016f" providerId="AD" clId="Web-{A6745185-8429-3354-CFBE-CB740C4A89DC}" dt="2022-06-10T08:05:14.382" v="91" actId="20577"/>
          <ac:spMkLst>
            <pc:docMk/>
            <pc:sldMk cId="0" sldId="1989"/>
            <ac:spMk id="7170" creationId="{00000000-0000-0000-0000-000000000000}"/>
          </ac:spMkLst>
        </pc:spChg>
        <pc:spChg chg="mod">
          <ac:chgData name="S, Uday Kumar" userId="S::uday-kumar.s@capgemini.com::11713fce-0ca4-448c-93c3-24176b34016f" providerId="AD" clId="Web-{A6745185-8429-3354-CFBE-CB740C4A89DC}" dt="2022-06-10T08:05:49.898" v="93" actId="20577"/>
          <ac:spMkLst>
            <pc:docMk/>
            <pc:sldMk cId="0" sldId="1989"/>
            <ac:spMk id="7180" creationId="{00000000-0000-0000-0000-000000000000}"/>
          </ac:spMkLst>
        </pc:spChg>
        <pc:graphicFrameChg chg="modGraphic">
          <ac:chgData name="S, Uday Kumar" userId="S::uday-kumar.s@capgemini.com::11713fce-0ca4-448c-93c3-24176b34016f" providerId="AD" clId="Web-{A6745185-8429-3354-CFBE-CB740C4A89DC}" dt="2022-06-10T08:06:14.289" v="95"/>
          <ac:graphicFrameMkLst>
            <pc:docMk/>
            <pc:sldMk cId="0" sldId="1989"/>
            <ac:graphicFrameMk id="2"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mohd-nabeel.siraj-mew@capgemini.com" TargetMode="External"/><Relationship Id="rId7" Type="http://schemas.openxmlformats.org/officeDocument/2006/relationships/hyperlink" Target="https://www.linkedin.com/in/mohd-nabeel-a40433221/"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nabeel-406" TargetMode="External"/><Relationship Id="rId5" Type="http://schemas.openxmlformats.org/officeDocument/2006/relationships/image" Target="../media/image14.png"/><Relationship Id="rId4" Type="http://schemas.openxmlformats.org/officeDocument/2006/relationships/hyperlink" Target="https://github.com/abhishek311017"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047076370"/>
              </p:ext>
            </p:extLst>
          </p:nvPr>
        </p:nvGraphicFramePr>
        <p:xfrm>
          <a:off x="9296400" y="1184911"/>
          <a:ext cx="2933602" cy="3351916"/>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582615">
                  <a:extLst>
                    <a:ext uri="{9D8B030D-6E8A-4147-A177-3AD203B41FA5}">
                      <a16:colId xmlns:a16="http://schemas.microsoft.com/office/drawing/2014/main" val="20001"/>
                    </a:ext>
                  </a:extLst>
                </a:gridCol>
              </a:tblGrid>
              <a:tr h="0">
                <a:tc>
                  <a:txBody>
                    <a:bodyPr/>
                    <a:lstStyle/>
                    <a:p>
                      <a:r>
                        <a:rPr kumimoji="0" lang="en-US" sz="1100" b="0" u="none" strike="noStrike" kern="1200" cap="none" spc="0" normalizeH="0" baseline="0" noProof="0" dirty="0">
                          <a:ln>
                            <a:noFill/>
                          </a:ln>
                          <a:effectLst/>
                          <a:uLnTx/>
                          <a:uFillTx/>
                        </a:rPr>
                        <a:t>Basics </a:t>
                      </a:r>
                      <a:r>
                        <a:rPr kumimoji="0" lang="en-US" sz="1100" b="0" u="none" strike="noStrike" kern="1200" cap="none" spc="0" normalizeH="0" baseline="0" noProof="0" dirty="0">
                          <a:ln>
                            <a:noFill/>
                          </a:ln>
                          <a:solidFill>
                            <a:prstClr val="black"/>
                          </a:solidFill>
                          <a:effectLst/>
                          <a:uLnTx/>
                          <a:uFillTx/>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1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354329">
                <a:tc>
                  <a:txBody>
                    <a:bodyPr/>
                    <a:lstStyle/>
                    <a:p>
                      <a:r>
                        <a:rPr kumimoji="0" lang="en-US" sz="1100" b="0" u="none" strike="noStrike" kern="1200" cap="none" spc="0" normalizeH="0" baseline="0" dirty="0">
                          <a:ln>
                            <a:noFill/>
                          </a:ln>
                          <a:solidFill>
                            <a:prstClr val="black"/>
                          </a:solidFill>
                          <a:effectLst/>
                          <a:uLnTx/>
                          <a:uFillTx/>
                        </a:rPr>
                        <a:t>.NET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Basic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40783">
                <a:tc>
                  <a:txBody>
                    <a:bodyPr/>
                    <a:lstStyle/>
                    <a:p>
                      <a:r>
                        <a:rPr kumimoji="0" lang="en-US" sz="1100" b="0" u="none" strike="noStrike" kern="1200" cap="none" spc="0" normalizeH="0" baseline="0" dirty="0">
                          <a:ln>
                            <a:noFill/>
                          </a:ln>
                          <a:solidFill>
                            <a:prstClr val="black"/>
                          </a:solidFill>
                          <a:effectLst/>
                          <a:uLnTx/>
                          <a:uFillTx/>
                        </a:rPr>
                        <a:t>Asp.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Basics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dirty="0">
                          <a:ln>
                            <a:noFill/>
                          </a:ln>
                          <a:solidFill>
                            <a:prstClr val="black"/>
                          </a:solidFill>
                          <a:effectLst/>
                          <a:uLnTx/>
                          <a:uFillTx/>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u="none" strike="noStrike" kern="1200" cap="none" spc="0" normalizeH="0" baseline="0" dirty="0">
                          <a:ln>
                            <a:noFill/>
                          </a:ln>
                          <a:solidFill>
                            <a:prstClr val="black"/>
                          </a:solidFill>
                          <a:effectLst/>
                          <a:uLnTx/>
                          <a:uFillTx/>
                        </a:rPr>
                        <a:t>MS SQL</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1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Visual Studio 2019</a:t>
                      </a:r>
                    </a:p>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Visual Studio Code</a:t>
                      </a:r>
                    </a:p>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Swagger</a:t>
                      </a:r>
                    </a:p>
                    <a:p>
                      <a:pPr marL="0" marR="0" lvl="0" indent="0" algn="l" defTabSz="914400" rtl="0" eaLnBrk="1" fontAlgn="auto" latinLnBrk="0" hangingPunct="1">
                        <a:lnSpc>
                          <a:spcPct val="100000"/>
                        </a:lnSpc>
                        <a:spcBef>
                          <a:spcPts val="0"/>
                        </a:spcBef>
                        <a:spcAft>
                          <a:spcPts val="0"/>
                        </a:spcAft>
                        <a:buClrTx/>
                        <a:buSzTx/>
                        <a:buFontTx/>
                        <a:buNone/>
                        <a:defRPr/>
                      </a:pPr>
                      <a:endParaRPr lang="en-US" sz="1100" dirty="0">
                        <a:solidFill>
                          <a:schemeClr val="tx1"/>
                        </a:solidFill>
                      </a:endParaRPr>
                    </a:p>
                  </a:txBody>
                  <a:tcPr/>
                </a:tc>
                <a:extLst>
                  <a:ext uri="{0D108BD9-81ED-4DB2-BD59-A6C34878D82A}">
                    <a16:rowId xmlns:a16="http://schemas.microsoft.com/office/drawing/2014/main" val="10002"/>
                  </a:ext>
                </a:extLst>
              </a:tr>
              <a:tr h="240783">
                <a:tc>
                  <a:txBody>
                    <a:bodyPr/>
                    <a:lstStyle/>
                    <a:p>
                      <a:r>
                        <a:rPr kumimoji="0" lang="en-US" sz="1100" b="0" u="none" strike="noStrike" kern="1200" cap="none" spc="0" normalizeH="0" baseline="0" dirty="0">
                          <a:ln>
                            <a:noFill/>
                          </a:ln>
                          <a:solidFill>
                            <a:prstClr val="black"/>
                          </a:solidFill>
                          <a:effectLst/>
                          <a:uLnTx/>
                          <a:uFillTx/>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u="none" strike="noStrike" kern="1200" cap="none" spc="0" normalizeH="0" baseline="0" dirty="0">
                          <a:ln>
                            <a:noFill/>
                          </a:ln>
                          <a:solidFill>
                            <a:prstClr val="black"/>
                          </a:solidFill>
                          <a:effectLst/>
                          <a:uLnTx/>
                          <a:uFillTx/>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dirty="0">
                          <a:ln>
                            <a:noFill/>
                          </a:ln>
                          <a:solidFill>
                            <a:prstClr val="black"/>
                          </a:solidFill>
                          <a:effectLst/>
                          <a:uLnTx/>
                          <a:uFillTx/>
                        </a:rPr>
                        <a:t>Quick Lear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dirty="0">
                          <a:ln>
                            <a:noFill/>
                          </a:ln>
                          <a:solidFill>
                            <a:prstClr val="black"/>
                          </a:solidFill>
                          <a:effectLst/>
                          <a:uLnTx/>
                          <a:uFillTx/>
                        </a:rPr>
                        <a:t>Team Managemen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dirty="0">
                          <a:ln>
                            <a:noFill/>
                          </a:ln>
                          <a:solidFill>
                            <a:prstClr val="black"/>
                          </a:solidFill>
                          <a:effectLst/>
                          <a:uLnTx/>
                          <a:uFillTx/>
                        </a:rPr>
                        <a:t>Communication Skills</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933355" y="2895791"/>
            <a:ext cx="3938099" cy="3323996"/>
          </a:xfrm>
        </p:spPr>
        <p:txBody>
          <a:bodyPr vert="horz" lIns="0" tIns="0" rIns="0" bIns="0" rtlCol="0" anchor="t">
            <a:noAutofit/>
          </a:bodyPr>
          <a:lstStyle/>
          <a:p>
            <a:r>
              <a:rPr lang="en-IN" altLang="en-US" sz="1100" b="1" dirty="0"/>
              <a:t>Project : Railway Reservation System </a:t>
            </a:r>
          </a:p>
          <a:p>
            <a:r>
              <a:rPr lang="en-IN" altLang="en-US" sz="1100" dirty="0"/>
              <a:t>Completed end to end case study of Online Railway Reservation System Application which is a web-based application along with Swagger testing. Responsive UI with HTML, CSS and Angular and MS SQL as database.</a:t>
            </a:r>
            <a:endParaRPr lang="en-IN" altLang="en-US" sz="1100" dirty="0">
              <a:solidFill>
                <a:srgbClr val="000000"/>
              </a:solidFill>
              <a:latin typeface="Times New Roman"/>
              <a:cs typeface="Times New Roman"/>
            </a:endParaRPr>
          </a:p>
          <a:p>
            <a:pPr>
              <a:lnSpc>
                <a:spcPct val="114000"/>
              </a:lnSpc>
            </a:pPr>
            <a:r>
              <a:rPr lang="en-IN" altLang="nl-NL" sz="1100" b="1" dirty="0"/>
              <a:t>Technologies used:</a:t>
            </a:r>
          </a:p>
          <a:p>
            <a:pPr marL="171450" indent="-171450">
              <a:lnSpc>
                <a:spcPct val="114000"/>
              </a:lnSpc>
              <a:buFont typeface="Arial" panose="020B0604020202020204" pitchFamily="34" charset="0"/>
              <a:buChar char="•"/>
            </a:pPr>
            <a:r>
              <a:rPr lang="en-IN" altLang="nl-NL" sz="1100" dirty="0"/>
              <a:t>ASP.NET Core</a:t>
            </a:r>
          </a:p>
          <a:p>
            <a:pPr marL="171450" indent="-171450">
              <a:lnSpc>
                <a:spcPct val="114000"/>
              </a:lnSpc>
              <a:buFont typeface="Arial" panose="020B0604020202020204" pitchFamily="34" charset="0"/>
              <a:buChar char="•"/>
            </a:pPr>
            <a:r>
              <a:rPr lang="en-IN" altLang="nl-NL" sz="1100" dirty="0"/>
              <a:t>Angular</a:t>
            </a:r>
          </a:p>
          <a:p>
            <a:pPr marL="171450" indent="-171450">
              <a:lnSpc>
                <a:spcPct val="114000"/>
              </a:lnSpc>
              <a:buFont typeface="Arial" panose="020B0604020202020204" pitchFamily="34" charset="0"/>
              <a:buChar char="•"/>
            </a:pPr>
            <a:r>
              <a:rPr lang="en-IN" altLang="nl-NL" sz="1100" dirty="0"/>
              <a:t>MS SQL</a:t>
            </a:r>
          </a:p>
          <a:p>
            <a:pPr>
              <a:lnSpc>
                <a:spcPct val="114000"/>
              </a:lnSpc>
            </a:pPr>
            <a:endParaRPr lang="en-US" altLang="nl-NL" sz="1100"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558290"/>
            <a:ext cx="3810000" cy="230633"/>
          </a:xfrm>
        </p:spPr>
        <p:txBody>
          <a:bodyPr/>
          <a:lstStyle/>
          <a:p>
            <a:pPr eaLnBrk="1" hangingPunct="1"/>
            <a:r>
              <a:rPr lang="nl-NL" altLang="nl-NL" dirty="0">
                <a:hlinkClick r:id="rId3"/>
              </a:rPr>
              <a:t>mohd-nabeel.siraj-mew@capgemini.com</a:t>
            </a:r>
            <a:endParaRPr lang="nl-NL" altLang="nl-NL" dirty="0"/>
          </a:p>
          <a:p>
            <a:pPr eaLnBrk="1" hangingPunct="1"/>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7974730328</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sz="1100" dirty="0"/>
              <a:t>Open to learn new technologies and ready to implement them to further improve my knowledge.</a:t>
            </a:r>
          </a:p>
          <a:p>
            <a:pPr marL="171450" indent="-171450">
              <a:buFont typeface="Arial" panose="020B0604020202020204" pitchFamily="34" charset="0"/>
              <a:buChar char="•"/>
            </a:pPr>
            <a:r>
              <a:rPr lang="en-US" sz="1100" dirty="0"/>
              <a:t>Eager to work in a team of dedicated people and serve a key role in the enhancement and development of the project.</a:t>
            </a:r>
          </a:p>
          <a:p>
            <a:pPr marL="171450" indent="-171450">
              <a:buFont typeface="Arial" panose="020B0604020202020204" pitchFamily="34" charset="0"/>
              <a:buChar char="•"/>
            </a:pPr>
            <a:r>
              <a:rPr lang="en-US" sz="1100" dirty="0"/>
              <a:t>Trained on </a:t>
            </a:r>
            <a:r>
              <a:rPr lang="en-US" sz="1100" b="1" dirty="0"/>
              <a:t>.NET, ASP.NET Core </a:t>
            </a:r>
            <a:r>
              <a:rPr lang="en-US" sz="1100" dirty="0"/>
              <a:t>and</a:t>
            </a:r>
            <a:r>
              <a:rPr lang="en-US" sz="1100" b="1" dirty="0"/>
              <a:t> MS SQL.</a:t>
            </a:r>
          </a:p>
          <a:p>
            <a:pPr marL="171450" indent="-171450">
              <a:buFont typeface="Arial" panose="020B0604020202020204" pitchFamily="34" charset="0"/>
              <a:buChar char="•"/>
            </a:pPr>
            <a:r>
              <a:rPr lang="en-GB" sz="1100" dirty="0"/>
              <a:t>Understanding of </a:t>
            </a:r>
            <a:r>
              <a:rPr lang="en-GB" sz="1100" b="1" dirty="0"/>
              <a:t>HTML5, CSS, </a:t>
            </a:r>
            <a:r>
              <a:rPr lang="en-GB" sz="1100" dirty="0"/>
              <a:t>and</a:t>
            </a:r>
            <a:r>
              <a:rPr lang="en-GB" sz="1100" b="1" dirty="0"/>
              <a:t> Angular CLI.</a:t>
            </a:r>
            <a:endParaRPr lang="en-US" altLang="en-US" sz="1100" b="1" dirty="0"/>
          </a:p>
          <a:p>
            <a:endParaRPr lang="en-US" sz="1100"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IN" altLang="en-US" dirty="0"/>
              <a:t>Mohd Nabeel Siraj Mew</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92142" y="592711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3694" y="6093751"/>
            <a:ext cx="389776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IN" altLang="en-US" sz="1100" dirty="0">
                <a:ea typeface="Verdana"/>
                <a:hlinkClick r:id="rId6"/>
              </a:rPr>
              <a:t>GitHub Link </a:t>
            </a:r>
            <a:endParaRPr lang="en-IN" altLang="en-US" sz="1100" b="0" i="0" u="none" strike="noStrike" kern="1200" cap="none" spc="0" normalizeH="0" baseline="0" noProof="0" dirty="0">
              <a:ln>
                <a:noFill/>
              </a:ln>
              <a:effectLst/>
              <a:uLnTx/>
              <a:uFillTx/>
              <a:latin typeface="Verdana" panose="020B0604030504040204" pitchFamily="34" charset="0"/>
              <a:ea typeface="Verdana"/>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 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in a suit&#10;&#10;Description automatically generated with medium confidence">
            <a:extLst>
              <a:ext uri="{FF2B5EF4-FFF2-40B4-BE49-F238E27FC236}">
                <a16:creationId xmlns:a16="http://schemas.microsoft.com/office/drawing/2014/main" id="{4FAB4D96-0848-4902-8712-1297F1887480}"/>
              </a:ext>
            </a:extLst>
          </p:cNvPr>
          <p:cNvPicPr>
            <a:picLocks noGrp="1" noChangeAspect="1"/>
          </p:cNvPicPr>
          <p:nvPr>
            <p:ph type="pic" sz="quarter" idx="46"/>
          </p:nvPr>
        </p:nvPicPr>
        <p:blipFill>
          <a:blip r:embed="rId9" cstate="print">
            <a:extLst>
              <a:ext uri="{28A0092B-C50C-407E-A947-70E740481C1C}">
                <a14:useLocalDpi xmlns:a14="http://schemas.microsoft.com/office/drawing/2010/main" val="0"/>
              </a:ext>
            </a:extLst>
          </a:blip>
          <a:srcRect l="990" r="990"/>
          <a:stretch>
            <a:fillRect/>
          </a:stretch>
        </p:blipFill>
        <p:spPr>
          <a:xfrm>
            <a:off x="383259" y="287492"/>
            <a:ext cx="1807810"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A39E320-2B27-4C87-B95E-B21DA5F0B414}">
  <ds:schemaRefs>
    <ds:schemaRef ds:uri="http://schemas.microsoft.com/sharepoint/v3/contenttype/forms"/>
  </ds:schemaRefs>
</ds:datastoreItem>
</file>

<file path=customXml/itemProps2.xml><?xml version="1.0" encoding="utf-8"?>
<ds:datastoreItem xmlns:ds="http://schemas.openxmlformats.org/officeDocument/2006/customXml" ds:itemID="{E92BAF36-5C82-47B9-BB91-13727FEE98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3EBC60-3B5B-4E9D-B167-8001ADDCD94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160</TotalTime>
  <Words>188</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raj Mew, Mohd Nabeel</cp:lastModifiedBy>
  <cp:revision>167</cp:revision>
  <dcterms:created xsi:type="dcterms:W3CDTF">2020-09-22T06:24:00Z</dcterms:created>
  <dcterms:modified xsi:type="dcterms:W3CDTF">2023-01-03T12:3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